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335" r:id="rId2"/>
    <p:sldId id="332" r:id="rId3"/>
    <p:sldId id="336" r:id="rId4"/>
    <p:sldId id="337" r:id="rId5"/>
    <p:sldId id="339" r:id="rId6"/>
    <p:sldId id="341" r:id="rId7"/>
  </p:sldIdLst>
  <p:sldSz cx="12195175" cy="6858000"/>
  <p:notesSz cx="6858000" cy="9144000"/>
  <p:custDataLst>
    <p:tags r:id="rId9"/>
  </p:custDataLst>
  <p:defaultTextStyle>
    <a:defPPr>
      <a:defRPr lang="ru-RU"/>
    </a:defPPr>
    <a:lvl1pPr marL="0" algn="l" defTabSz="121779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8892" algn="l" defTabSz="121779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7794" algn="l" defTabSz="121779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6684" algn="l" defTabSz="121779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5576" algn="l" defTabSz="121779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4471" algn="l" defTabSz="121779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3365" algn="l" defTabSz="121779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2259" algn="l" defTabSz="121779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1151" algn="l" defTabSz="121779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FD6C3F6-3CDC-4765-B631-CBFAFD2E1258}">
          <p14:sldIdLst>
            <p14:sldId id="335"/>
            <p14:sldId id="332"/>
            <p14:sldId id="336"/>
            <p14:sldId id="337"/>
            <p14:sldId id="339"/>
            <p14:sldId id="34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8" userDrawn="1">
          <p15:clr>
            <a:srgbClr val="A4A3A4"/>
          </p15:clr>
        </p15:guide>
        <p15:guide id="3" pos="91" userDrawn="1">
          <p15:clr>
            <a:srgbClr val="A4A3A4"/>
          </p15:clr>
        </p15:guide>
        <p15:guide id="5" pos="7606" userDrawn="1">
          <p15:clr>
            <a:srgbClr val="A4A3A4"/>
          </p15:clr>
        </p15:guide>
        <p15:guide id="6" pos="2866" userDrawn="1">
          <p15:clr>
            <a:srgbClr val="A4A3A4"/>
          </p15:clr>
        </p15:guide>
        <p15:guide id="7" pos="3841">
          <p15:clr>
            <a:srgbClr val="A4A3A4"/>
          </p15:clr>
        </p15:guide>
        <p15:guide id="8" pos="7591">
          <p15:clr>
            <a:srgbClr val="A4A3A4"/>
          </p15:clr>
        </p15:guide>
        <p15:guide id="9" pos="287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асильева Эмилия Сергеевна" initials="ВЭС" lastIdx="1" clrIdx="0"/>
  <p:cmAuthor id="2" name="Лыков Николай Сергеевич" initials="ЛНС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4060"/>
    <a:srgbClr val="CDCDCD"/>
    <a:srgbClr val="00B0F0"/>
    <a:srgbClr val="6980AF"/>
    <a:srgbClr val="1091FC"/>
    <a:srgbClr val="D9D9D9"/>
    <a:srgbClr val="E69F00"/>
    <a:srgbClr val="FFCB57"/>
    <a:srgbClr val="0B366D"/>
    <a:srgbClr val="FFA6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9822" autoAdjust="0"/>
  </p:normalViewPr>
  <p:slideViewPr>
    <p:cSldViewPr>
      <p:cViewPr varScale="1">
        <p:scale>
          <a:sx n="114" d="100"/>
          <a:sy n="114" d="100"/>
        </p:scale>
        <p:origin x="414" y="114"/>
      </p:cViewPr>
      <p:guideLst>
        <p:guide orient="horz" pos="2160"/>
        <p:guide pos="3818"/>
        <p:guide pos="91"/>
        <p:guide pos="7606"/>
        <p:guide pos="2866"/>
        <p:guide pos="3841"/>
        <p:guide pos="7591"/>
        <p:guide pos="2873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4B6A7F-2A6C-48F0-85D4-7ACBF9902C9E}" type="datetimeFigureOut">
              <a:rPr lang="ru-RU" smtClean="0"/>
              <a:t>12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0B502A-9EEF-412C-BF72-C554C75FB9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3049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688" algn="l" defTabSz="913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365" algn="l" defTabSz="913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47" algn="l" defTabSz="913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727" algn="l" defTabSz="913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3408" algn="l" defTabSz="913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094" algn="l" defTabSz="913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773" algn="l" defTabSz="913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3453" algn="l" defTabSz="913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51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4" tIns="45667" rIns="91334" bIns="45667" rtlCol="0" anchor="ctr"/>
          <a:lstStyle/>
          <a:p>
            <a:pPr algn="ctr"/>
            <a:endParaRPr lang="ru-RU"/>
          </a:p>
        </p:txBody>
      </p:sp>
      <p:pic>
        <p:nvPicPr>
          <p:cNvPr id="1026" name="Picture 2" descr="C:\Users\gpbu5021\Desktop\Папка Алечки Витальевны\06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0"/>
            <a:ext cx="11246159" cy="7496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9299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995AA-C26E-4AF6-A7BA-848B15EA881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322048" y="250279"/>
            <a:ext cx="10501171" cy="286212"/>
          </a:xfrm>
        </p:spPr>
        <p:txBody>
          <a:bodyPr wrap="square" lIns="0" bIns="0" anchor="ctr" anchorCtr="0">
            <a:spAutoFit/>
          </a:bodyPr>
          <a:lstStyle>
            <a:lvl1pPr>
              <a:lnSpc>
                <a:spcPct val="100000"/>
              </a:lnSpc>
              <a:defRPr kumimoji="0" lang="ru-RU" sz="1700" b="0" i="0" u="none" strike="noStrike" cap="all" spc="40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ru-RU" sz="2400" smtClean="0"/>
            </a:lvl2pPr>
            <a:lvl3pPr>
              <a:defRPr lang="ru-RU" sz="2400" smtClean="0"/>
            </a:lvl3pPr>
            <a:lvl4pPr>
              <a:defRPr lang="ru-RU" sz="2400" smtClean="0"/>
            </a:lvl4pPr>
            <a:lvl5pPr>
              <a:defRPr lang="ru-RU" sz="240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  <a:buNone/>
            </a:pPr>
            <a:r>
              <a:rPr lang="ru-RU" dirty="0"/>
              <a:t>Образец Заголов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4"/>
          </p:nvPr>
        </p:nvSpPr>
        <p:spPr>
          <a:xfrm>
            <a:off x="322048" y="1125851"/>
            <a:ext cx="11564898" cy="779684"/>
          </a:xfrm>
        </p:spPr>
        <p:txBody>
          <a:bodyPr>
            <a:spAutoFit/>
          </a:bodyPr>
          <a:lstStyle>
            <a:lvl1pPr marL="361529" indent="-361529"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0"/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ED3BED2-20C2-4977-8E0F-331C5BDAE6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67" y="224629"/>
            <a:ext cx="360000" cy="337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792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746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995AA-C26E-4AF6-A7BA-848B15EA881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322048" y="250276"/>
            <a:ext cx="10501171" cy="286219"/>
          </a:xfrm>
        </p:spPr>
        <p:txBody>
          <a:bodyPr wrap="square" lIns="0" bIns="0" anchor="ctr" anchorCtr="0">
            <a:spAutoFit/>
          </a:bodyPr>
          <a:lstStyle>
            <a:lvl1pPr>
              <a:lnSpc>
                <a:spcPct val="100000"/>
              </a:lnSpc>
              <a:defRPr kumimoji="0" lang="ru-RU" sz="1700" b="0" i="0" u="none" strike="noStrike" cap="all" spc="40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ru-RU" sz="2400" smtClean="0"/>
            </a:lvl2pPr>
            <a:lvl3pPr>
              <a:defRPr lang="ru-RU" sz="2400" smtClean="0"/>
            </a:lvl3pPr>
            <a:lvl4pPr>
              <a:defRPr lang="ru-RU" sz="2400" smtClean="0"/>
            </a:lvl4pPr>
            <a:lvl5pPr>
              <a:defRPr lang="ru-RU" sz="240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  <a:buNone/>
            </a:pPr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ED3BED2-20C2-4977-8E0F-331C5BDAE6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67" y="224629"/>
            <a:ext cx="360000" cy="337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173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746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2995AA-C26E-4AF6-A7BA-848B15EA881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322048" y="250276"/>
            <a:ext cx="10501171" cy="286219"/>
          </a:xfrm>
        </p:spPr>
        <p:txBody>
          <a:bodyPr wrap="square" lIns="0" bIns="0" anchor="ctr" anchorCtr="0">
            <a:spAutoFit/>
          </a:bodyPr>
          <a:lstStyle>
            <a:lvl1pPr>
              <a:lnSpc>
                <a:spcPct val="100000"/>
              </a:lnSpc>
              <a:defRPr kumimoji="0" lang="ru-RU" sz="1700" b="0" i="0" u="none" strike="noStrike" cap="all" spc="400" normalizeH="0" baseline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lang="ru-RU" sz="2400" smtClean="0"/>
            </a:lvl2pPr>
            <a:lvl3pPr>
              <a:defRPr lang="ru-RU" sz="2400" smtClean="0"/>
            </a:lvl3pPr>
            <a:lvl4pPr>
              <a:defRPr lang="ru-RU" sz="2400" smtClean="0"/>
            </a:lvl4pPr>
            <a:lvl5pPr>
              <a:defRPr lang="ru-RU" sz="2400"/>
            </a:lvl5pPr>
          </a:lstStyle>
          <a:p>
            <a:pPr marL="0" lvl="0">
              <a:lnSpc>
                <a:spcPct val="90000"/>
              </a:lnSpc>
              <a:spcBef>
                <a:spcPct val="0"/>
              </a:spcBef>
              <a:buNone/>
            </a:pPr>
            <a:r>
              <a:rPr lang="ru-RU" dirty="0"/>
              <a:t>Образец Заголовк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ADA114E-33BA-4437-9D35-05F73128A2DB}"/>
              </a:ext>
            </a:extLst>
          </p:cNvPr>
          <p:cNvSpPr/>
          <p:nvPr userDrawn="1"/>
        </p:nvSpPr>
        <p:spPr>
          <a:xfrm>
            <a:off x="0" y="642371"/>
            <a:ext cx="12195175" cy="6984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4" tIns="45667" rIns="91334" bIns="45667" rtlCol="0" anchor="ctr"/>
          <a:lstStyle/>
          <a:p>
            <a:pPr algn="ctr"/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ED3BED2-20C2-4977-8E0F-331C5BDAE6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8867" y="224629"/>
            <a:ext cx="360000" cy="337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789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3">
          <p15:clr>
            <a:srgbClr val="FBAE40"/>
          </p15:clr>
        </p15:guide>
        <p15:guide id="2" pos="3840">
          <p15:clr>
            <a:srgbClr val="FBAE40"/>
          </p15:clr>
        </p15:guide>
        <p15:guide id="3" pos="746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Линия"/>
          <p:cNvSpPr/>
          <p:nvPr/>
        </p:nvSpPr>
        <p:spPr>
          <a:xfrm flipV="1">
            <a:off x="381099" y="698317"/>
            <a:ext cx="11432977" cy="185"/>
          </a:xfrm>
          <a:prstGeom prst="line">
            <a:avLst/>
          </a:prstGeom>
          <a:ln w="25400">
            <a:solidFill>
              <a:srgbClr val="A6AAA9"/>
            </a:solidFill>
            <a:miter lim="400000"/>
          </a:ln>
        </p:spPr>
        <p:txBody>
          <a:bodyPr lIns="35717" tIns="35717" rIns="35717" bIns="35717" anchor="ctr"/>
          <a:lstStyle/>
          <a:p>
            <a:pPr defTabSz="321457" hangingPunct="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69" name="Текст"/>
          <p:cNvSpPr txBox="1">
            <a:spLocks noGrp="1"/>
          </p:cNvSpPr>
          <p:nvPr>
            <p:ph type="body" sz="quarter" idx="13"/>
          </p:nvPr>
        </p:nvSpPr>
        <p:spPr>
          <a:xfrm>
            <a:off x="381100" y="341426"/>
            <a:ext cx="10480229" cy="30151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defTabSz="321457">
              <a:lnSpc>
                <a:spcPct val="80000"/>
              </a:lnSpc>
              <a:spcBef>
                <a:spcPts val="0"/>
              </a:spcBef>
              <a:buClrTx/>
              <a:buSzTx/>
              <a:buFontTx/>
              <a:buNone/>
              <a:defRPr sz="1700" cap="all" spc="84">
                <a:latin typeface="+mn-lt"/>
                <a:ea typeface="+mn-ea"/>
                <a:cs typeface="+mn-cs"/>
                <a:sym typeface="DIN Alternate"/>
              </a:defRPr>
            </a:lvl1pPr>
          </a:lstStyle>
          <a:p>
            <a:r>
              <a:t>Текст</a:t>
            </a:r>
          </a:p>
        </p:txBody>
      </p:sp>
      <p:sp>
        <p:nvSpPr>
          <p:cNvPr id="7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71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buChar char="▸"/>
            </a:lvl1pPr>
            <a:lvl2pPr>
              <a:buClr>
                <a:schemeClr val="accent1"/>
              </a:buClr>
              <a:buChar char="▸"/>
            </a:lvl2pPr>
            <a:lvl3pPr>
              <a:buClr>
                <a:schemeClr val="accent1"/>
              </a:buClr>
              <a:buChar char="▸"/>
            </a:lvl3pPr>
            <a:lvl4pPr>
              <a:buClr>
                <a:schemeClr val="accent1"/>
              </a:buClr>
              <a:buChar char="▸"/>
            </a:lvl4pPr>
            <a:lvl5pPr>
              <a:buClr>
                <a:schemeClr val="accent1"/>
              </a:buClr>
              <a:buChar char="▸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6761925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397" y="1122363"/>
            <a:ext cx="914638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397" y="3602038"/>
            <a:ext cx="914638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B1A2E0-B261-4049-BEF2-DA39D374E07B}" type="datetimeFigureOut">
              <a:rPr lang="ru-RU" smtClean="0"/>
              <a:t>12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CBA4D5-6FFB-4AFA-809C-387F66A9A57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2314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5448" y="1316767"/>
            <a:ext cx="11524174" cy="4979157"/>
          </a:xfrm>
          <a:prstGeom prst="rect">
            <a:avLst/>
          </a:prstGeom>
        </p:spPr>
        <p:txBody>
          <a:bodyPr vert="horz" lIns="91331" tIns="45666" rIns="91331" bIns="45666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89309" y="6409954"/>
            <a:ext cx="2845541" cy="366183"/>
          </a:xfrm>
          <a:prstGeom prst="rect">
            <a:avLst/>
          </a:prstGeom>
        </p:spPr>
        <p:txBody>
          <a:bodyPr vert="horz" lIns="91331" tIns="45666" rIns="91331" bIns="45666" rtlCol="0" anchor="b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7762"/>
            <a:fld id="{A22995AA-C26E-4AF6-A7BA-848B15EA881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217762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335502" y="675919"/>
            <a:ext cx="1152417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8883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2" r:id="rId2"/>
    <p:sldLayoutId id="2147483663" r:id="rId3"/>
    <p:sldLayoutId id="2147483665" r:id="rId4"/>
    <p:sldLayoutId id="2147483669" r:id="rId5"/>
    <p:sldLayoutId id="2147483670" r:id="rId6"/>
  </p:sldLayoutIdLst>
  <p:hf hdr="0" ftr="0" dt="0"/>
  <p:txStyles>
    <p:titleStyle>
      <a:lvl1pPr algn="l" defTabSz="1217762" rtl="0" eaLnBrk="1" latinLnBrk="0" hangingPunct="1">
        <a:spcBef>
          <a:spcPct val="0"/>
        </a:spcBef>
        <a:buNone/>
        <a:defRPr kumimoji="0" lang="ru-RU" sz="2400" b="1" i="0" u="none" strike="noStrike" kern="1200" cap="all" spc="400" normalizeH="0" baseline="0" dirty="0">
          <a:ln>
            <a:noFill/>
          </a:ln>
          <a:solidFill>
            <a:srgbClr val="00703C"/>
          </a:solidFill>
          <a:effectLst/>
          <a:uLnTx/>
          <a:uFillTx/>
          <a:latin typeface="+mn-lt"/>
          <a:ea typeface="+mj-ea"/>
          <a:cs typeface="+mj-cs"/>
        </a:defRPr>
      </a:lvl1pPr>
    </p:titleStyle>
    <p:bodyStyle>
      <a:lvl1pPr marL="0" indent="0" algn="l" defTabSz="1217762" rtl="0" eaLnBrk="1" latinLnBrk="0" hangingPunct="1">
        <a:spcBef>
          <a:spcPct val="20000"/>
        </a:spcBef>
        <a:buFont typeface="Arial" panose="020B0604020202020204" pitchFamily="34" charset="0"/>
        <a:buNone/>
        <a:defRPr sz="1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08877" indent="0" algn="l" defTabSz="1217762" rtl="0" eaLnBrk="1" latinLnBrk="0" hangingPunct="1">
        <a:spcBef>
          <a:spcPct val="20000"/>
        </a:spcBef>
        <a:buFont typeface="Arial" panose="020B0604020202020204" pitchFamily="34" charset="0"/>
        <a:buNone/>
        <a:defRPr sz="19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217762" indent="0" algn="l" defTabSz="1217762" rtl="0" eaLnBrk="1" latinLnBrk="0" hangingPunct="1">
        <a:spcBef>
          <a:spcPct val="20000"/>
        </a:spcBef>
        <a:buFont typeface="Arial" panose="020B0604020202020204" pitchFamily="34" charset="0"/>
        <a:buNone/>
        <a:defRPr sz="19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826636" indent="0" algn="l" defTabSz="1217762" rtl="0" eaLnBrk="1" latinLnBrk="0" hangingPunct="1">
        <a:spcBef>
          <a:spcPct val="20000"/>
        </a:spcBef>
        <a:buFont typeface="Arial" panose="020B0604020202020204" pitchFamily="34" charset="0"/>
        <a:buNone/>
        <a:defRPr sz="19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435515" indent="0" algn="l" defTabSz="1217762" rtl="0" eaLnBrk="1" latinLnBrk="0" hangingPunct="1">
        <a:spcBef>
          <a:spcPct val="20000"/>
        </a:spcBef>
        <a:buFont typeface="Arial" panose="020B0604020202020204" pitchFamily="34" charset="0"/>
        <a:buNone/>
        <a:defRPr sz="19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3348833" indent="-304435" algn="l" defTabSz="12177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57711" indent="-304435" algn="l" defTabSz="12177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6593" indent="-304435" algn="l" defTabSz="12177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5470" indent="-304435" algn="l" defTabSz="1217762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7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877" algn="l" defTabSz="1217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762" algn="l" defTabSz="1217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636" algn="l" defTabSz="1217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515" algn="l" defTabSz="1217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395" algn="l" defTabSz="1217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3273" algn="l" defTabSz="1217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2153" algn="l" defTabSz="1217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1031" algn="l" defTabSz="1217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zprombank.ru/full/loan-consumer/lite-credit" TargetMode="External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www.gazprombank.ru/personal/take_credit/consumer_credit/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hyperlink" Target="http://www.gazprombank.ru/" TargetMode="Externa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azprombank.ru/personal/take_credit/consumer_credit/" TargetMode="External"/><Relationship Id="rId2" Type="http://schemas.openxmlformats.org/officeDocument/2006/relationships/hyperlink" Target="http://gazprombank.link.email.gazprombank.ru/gazprombank/1437,=0JUAL8GKl7dfY-d6oV62arg/448,616986,300917,?aHR0cHM6Ly93d3cuZ2F6cHJvbWJhbmsucnUvcGVyc29uYWwvdGFrZV9jcmVkaXQvY29uc3VtZXJfY3JlZGl0X25ldy8=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Рекомендации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для рассылок</a:t>
            </a:r>
          </a:p>
        </p:txBody>
      </p:sp>
    </p:spTree>
    <p:extLst>
      <p:ext uri="{BB962C8B-B14F-4D97-AF65-F5344CB8AC3E}">
        <p14:creationId xmlns:p14="http://schemas.microsoft.com/office/powerpoint/2010/main" val="23342908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16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4" imgW="366" imgH="367" progId="TCLayout.ActiveDocument.1">
                  <p:embed/>
                </p:oleObj>
              </mc:Choice>
              <mc:Fallback>
                <p:oleObj name="think-cell Slide" r:id="rId4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372951" y="160440"/>
            <a:ext cx="10946275" cy="445220"/>
          </a:xfrm>
          <a:prstGeom prst="rect">
            <a:avLst/>
          </a:prstGeom>
        </p:spPr>
        <p:txBody>
          <a:bodyPr vert="horz" wrap="square" lIns="0" tIns="44674" rIns="89474" bIns="0" rtlCol="0" anchor="t" anchorCtr="0">
            <a:spAutoFit/>
          </a:bodyPr>
          <a:lstStyle/>
          <a:p>
            <a:pPr defTabSz="1217762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ru-RU" sz="2600" cap="all" spc="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сновное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6853671" y="5945027"/>
            <a:ext cx="5286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/>
              <a:t> </a:t>
            </a:r>
            <a:endParaRPr lang="ru-RU" sz="14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72951" y="944724"/>
            <a:ext cx="11484087" cy="64530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31800" indent="-342900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ование макета 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сотрудниками Газпромбанка:</a:t>
            </a:r>
          </a:p>
          <a:p>
            <a:pPr marL="431800" indent="-342900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2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ендирование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цветах вашего сервиса или сайта (при рассылке не должно складываться впечатление, что письмо пришло от имени Газпромбанка).</a:t>
            </a:r>
            <a:endParaRPr lang="en-US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1800" indent="-342900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рес отправителя: письмо приходит от имени сервиса. Не использовать в имени отправителя наименование «Газпромбанк».</a:t>
            </a:r>
          </a:p>
          <a:p>
            <a:pPr marL="431800" indent="-342900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объёме базы более 30 тысяч адресов делать постепенную рассылку. </a:t>
            </a:r>
            <a:endParaRPr lang="en-US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1800" indent="-342900">
              <a:lnSpc>
                <a:spcPct val="2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20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а письма: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тимо использовать наименование банка. Например, «Легкий кредит от Газпромбанка»/ «Легкий кредит до 3 млн рублей от Газпромбанка» и т.п.</a:t>
            </a:r>
            <a:b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0177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4" imgW="366" imgH="367" progId="TCLayout.ActiveDocument.1">
                  <p:embed/>
                </p:oleObj>
              </mc:Choice>
              <mc:Fallback>
                <p:oleObj name="think-cell Slide" r:id="rId4" imgW="366" imgH="367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372951" y="160440"/>
            <a:ext cx="10946275" cy="445220"/>
          </a:xfrm>
          <a:prstGeom prst="rect">
            <a:avLst/>
          </a:prstGeom>
        </p:spPr>
        <p:txBody>
          <a:bodyPr vert="horz" wrap="square" lIns="0" tIns="44674" rIns="89474" bIns="0" rtlCol="0" anchor="t" anchorCtr="0">
            <a:spAutoFit/>
          </a:bodyPr>
          <a:lstStyle/>
          <a:p>
            <a:pPr defTabSz="1217762">
              <a:spcBef>
                <a:spcPct val="20000"/>
              </a:spcBef>
            </a:pPr>
            <a:r>
              <a:rPr lang="ru-RU" sz="2600" cap="all" spc="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продукте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6853671" y="5945027"/>
            <a:ext cx="5286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 dirty="0"/>
              <a:t> </a:t>
            </a:r>
            <a:endParaRPr lang="ru-RU" sz="14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72403" y="944724"/>
            <a:ext cx="11413268" cy="6740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ю о продукте брать только на официальном сайте банка в соответствующем разделе.</a:t>
            </a:r>
          </a:p>
          <a:p>
            <a:pPr algn="just">
              <a:lnSpc>
                <a:spcPct val="150000"/>
              </a:lnSpc>
            </a:pPr>
            <a:b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йт - </a:t>
            </a:r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www.gazprombank.ru</a:t>
            </a:r>
            <a:endParaRPr lang="ru-RU" sz="1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адочные страницы:</a:t>
            </a:r>
            <a:b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условия по продукту </a:t>
            </a:r>
          </a:p>
          <a:p>
            <a:pPr algn="just">
              <a:lnSpc>
                <a:spcPct val="150000"/>
              </a:lnSpc>
            </a:pPr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https://www.gazprombank.ru/personal/take_credit/consumer_credit/</a:t>
            </a:r>
            <a:endParaRPr lang="ru-RU" sz="1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>
              <a:lnSpc>
                <a:spcPct val="150000"/>
              </a:lnSpc>
              <a:tabLst>
                <a:tab pos="627063" algn="l"/>
              </a:tabLst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анкета</a:t>
            </a:r>
            <a:br>
              <a:rPr lang="ru-RU" sz="18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ttps://www.gazprombank.ru/full/loan-consumer/lite-credit</a:t>
            </a:r>
            <a:endParaRPr lang="ru-RU" sz="1800" u="sng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>
              <a:tabLst>
                <a:tab pos="627063" algn="l"/>
              </a:tabLst>
            </a:pPr>
            <a:r>
              <a:rPr lang="ru-RU" sz="18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:</a:t>
            </a:r>
            <a:b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займа: до 5 000 000 рублей.</a:t>
            </a:r>
          </a:p>
          <a:p>
            <a:pPr marL="88900">
              <a:tabLst>
                <a:tab pos="627063" algn="l"/>
              </a:tabLst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займа: до 7 лет.</a:t>
            </a:r>
          </a:p>
          <a:p>
            <a:pPr marL="88900">
              <a:tabLst>
                <a:tab pos="627063" algn="l"/>
              </a:tabLst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: от 6,9% годовых при сумме кредита более 1,5 и до 5 млн руб.</a:t>
            </a:r>
          </a:p>
          <a:p>
            <a:pPr marL="88900">
              <a:tabLst>
                <a:tab pos="627063" algn="l"/>
              </a:tabLst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8,9% - при сумме 1 - 1,5 млн руб.</a:t>
            </a:r>
          </a:p>
          <a:p>
            <a:pPr marL="88900">
              <a:tabLst>
                <a:tab pos="627063" algn="l"/>
              </a:tabLst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9,9% - при сумме 300 тыс. - 1 млн руб.</a:t>
            </a:r>
          </a:p>
          <a:p>
            <a:pPr marL="88900">
              <a:tabLst>
                <a:tab pos="627063" algn="l"/>
              </a:tabLst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0,9% годовых – при сумме 50 000 - 299 999, 99 руб.</a:t>
            </a:r>
          </a:p>
          <a:p>
            <a:pPr marL="88900">
              <a:tabLst>
                <a:tab pos="627063" algn="l"/>
              </a:tabLst>
            </a:pP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ивается на 5-6 </a:t>
            </a:r>
            <a:r>
              <a:rPr lang="ru-RU" sz="1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п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для клиентов без личного страхования, в зависимости от категории заемщика. Срок кредита: от 13 до 84 мес.</a:t>
            </a:r>
          </a:p>
          <a:p>
            <a:pPr marL="88900">
              <a:tabLst>
                <a:tab pos="627063" algn="l"/>
              </a:tabLst>
            </a:pPr>
            <a:endParaRPr lang="ru-RU" sz="1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>
              <a:tabLst>
                <a:tab pos="627063" algn="l"/>
              </a:tabLst>
            </a:pPr>
            <a:endParaRPr lang="ru-RU" sz="1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>
              <a:tabLst>
                <a:tab pos="627063" algn="l"/>
              </a:tabLst>
            </a:pPr>
            <a:endParaRPr lang="ru-RU" sz="18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939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type="subTitle" idx="1"/>
          </p:nvPr>
        </p:nvSpPr>
        <p:spPr>
          <a:xfrm>
            <a:off x="374342" y="1124744"/>
            <a:ext cx="9146381" cy="4860540"/>
          </a:xfrm>
        </p:spPr>
        <p:txBody>
          <a:bodyPr>
            <a:noAutofit/>
          </a:bodyPr>
          <a:lstStyle/>
          <a:p>
            <a:pPr algn="l">
              <a:lnSpc>
                <a:spcPct val="170000"/>
              </a:lnSpc>
              <a:spcBef>
                <a:spcPts val="0"/>
              </a:spcBef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ой шрифт для рассылок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al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l">
              <a:lnSpc>
                <a:spcPct val="170000"/>
              </a:lnSpc>
              <a:spcBef>
                <a:spcPts val="0"/>
              </a:spcBef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ный, поддерживается всеми популярными почтовыми сервисами.</a:t>
            </a:r>
          </a:p>
          <a:p>
            <a:pPr algn="l">
              <a:lnSpc>
                <a:spcPct val="170000"/>
              </a:lnSpc>
              <a:spcBef>
                <a:spcPts val="0"/>
              </a:spcBef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ие других шрифтов в теле письма запрещено.</a:t>
            </a:r>
            <a:b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пографские стили</a:t>
            </a:r>
          </a:p>
          <a:p>
            <a:pPr algn="l">
              <a:lnSpc>
                <a:spcPct val="17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1 Arial Bold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гль 32, интерлиньяж 40</a:t>
            </a:r>
          </a:p>
          <a:p>
            <a:pPr algn="l">
              <a:lnSpc>
                <a:spcPct val="17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2 Arial Bold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гль 20, интерлиньяж 28</a:t>
            </a:r>
          </a:p>
          <a:p>
            <a:pPr algn="l">
              <a:lnSpc>
                <a:spcPct val="170000"/>
              </a:lnSpc>
              <a:spcBef>
                <a:spcPts val="0"/>
              </a:spcBef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заголовок 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al Bold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гль 16, интерлиньяж 20</a:t>
            </a:r>
          </a:p>
          <a:p>
            <a:pPr algn="l">
              <a:lnSpc>
                <a:spcPct val="170000"/>
              </a:lnSpc>
              <a:spcBef>
                <a:spcPts val="0"/>
              </a:spcBef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т 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al Regular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гль 16, интерлиньяж 20 или 24</a:t>
            </a:r>
          </a:p>
          <a:p>
            <a:pPr algn="l">
              <a:lnSpc>
                <a:spcPct val="170000"/>
              </a:lnSpc>
              <a:spcBef>
                <a:spcPts val="0"/>
              </a:spcBef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лкий текст 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al Regular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гль 14, интерлиньяж 20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72951" y="160440"/>
            <a:ext cx="10946275" cy="445220"/>
          </a:xfrm>
          <a:prstGeom prst="rect">
            <a:avLst/>
          </a:prstGeom>
        </p:spPr>
        <p:txBody>
          <a:bodyPr vert="horz" wrap="square" lIns="0" tIns="44674" rIns="89474" bIns="0" rtlCol="0" anchor="t" anchorCtr="0">
            <a:spAutoFit/>
          </a:bodyPr>
          <a:lstStyle/>
          <a:p>
            <a:pPr defTabSz="1217762">
              <a:spcBef>
                <a:spcPct val="20000"/>
              </a:spcBef>
            </a:pPr>
            <a:r>
              <a:rPr lang="ru-RU" sz="2600" cap="all" spc="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Шрифт</a:t>
            </a:r>
          </a:p>
        </p:txBody>
      </p:sp>
    </p:spTree>
    <p:extLst>
      <p:ext uri="{BB962C8B-B14F-4D97-AF65-F5344CB8AC3E}">
        <p14:creationId xmlns:p14="http://schemas.microsoft.com/office/powerpoint/2010/main" val="12563526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type="subTitle" idx="1"/>
          </p:nvPr>
        </p:nvSpPr>
        <p:spPr>
          <a:xfrm>
            <a:off x="336439" y="1052736"/>
            <a:ext cx="11449272" cy="1655762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птивная вёрстка. </a:t>
            </a:r>
          </a:p>
          <a:p>
            <a:pPr algn="l">
              <a:lnSpc>
                <a:spcPct val="150000"/>
              </a:lnSpc>
              <a:spcBef>
                <a:spcPts val="0"/>
              </a:spcBef>
            </a:pPr>
            <a:endParaRPr lang="ru-RU" sz="175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использовании изображений желательно придерживаться сдержанного стиля, без вульгарных изображений (ориентироваться на то, что предлагается продукт банка входящего в ТОП-3 банков РФ). </a:t>
            </a:r>
            <a:b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ображение должно быть чётким, хорошего качества. Атрибут </a:t>
            </a:r>
            <a:r>
              <a:rPr lang="en-US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 </a:t>
            </a:r>
            <a: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писан. </a:t>
            </a:r>
            <a:b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75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т письма не должен содержать орфографических, пунктуационных и стилистических ошибок. Не допускается изменение условий по продукту. </a:t>
            </a:r>
            <a:b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исание наименование банка в теле письма допустимо только в формате: Газпромбанк.</a:t>
            </a:r>
          </a:p>
          <a:p>
            <a:pPr marL="285750" indent="-285750" algn="l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ru-RU" sz="175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75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хедере</a:t>
            </a:r>
            <a: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держится краткая информация о чём будет письмо.</a:t>
            </a:r>
            <a:b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75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вал должен содержать всю необходимую информацию о сервисе, что направил рассылку, ссылку на сайт сервиса, </a:t>
            </a:r>
            <a:r>
              <a:rPr lang="ru-RU" sz="175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так же ссылку/кнопку на отписку от рассылки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72951" y="160440"/>
            <a:ext cx="10946275" cy="445220"/>
          </a:xfrm>
          <a:prstGeom prst="rect">
            <a:avLst/>
          </a:prstGeom>
        </p:spPr>
        <p:txBody>
          <a:bodyPr vert="horz" wrap="square" lIns="0" tIns="44674" rIns="89474" bIns="0" rtlCol="0" anchor="t" anchorCtr="0">
            <a:spAutoFit/>
          </a:bodyPr>
          <a:lstStyle/>
          <a:p>
            <a:pPr defTabSz="1217762">
              <a:spcBef>
                <a:spcPct val="20000"/>
              </a:spcBef>
            </a:pPr>
            <a:r>
              <a:rPr lang="ru-RU" sz="2600" cap="all" spc="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Теле письма</a:t>
            </a:r>
          </a:p>
        </p:txBody>
      </p:sp>
    </p:spTree>
    <p:extLst>
      <p:ext uri="{BB962C8B-B14F-4D97-AF65-F5344CB8AC3E}">
        <p14:creationId xmlns:p14="http://schemas.microsoft.com/office/powerpoint/2010/main" val="42352904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type="subTitle" idx="1"/>
          </p:nvPr>
        </p:nvSpPr>
        <p:spPr>
          <a:xfrm>
            <a:off x="336439" y="1052736"/>
            <a:ext cx="11449272" cy="1655762"/>
          </a:xfrm>
        </p:spPr>
        <p:txBody>
          <a:bodyPr>
            <a:noAutofit/>
          </a:bodyPr>
          <a:lstStyle/>
          <a:p>
            <a:pPr algn="l">
              <a:lnSpc>
                <a:spcPct val="150000"/>
              </a:lnSpc>
              <a:spcBef>
                <a:spcPts val="0"/>
              </a:spcBef>
            </a:pPr>
            <a:r>
              <a:rPr lang="ru-RU" u="sng" dirty="0"/>
              <a:t>Текст:</a:t>
            </a:r>
            <a:r>
              <a:rPr lang="ru-RU" dirty="0"/>
              <a:t> После подачи документов в отделении срок рассмотрения заявки — от 10 минут. Кредитный договор можно заключить только в подразделении банка. Условия определяются индивидуально и могут отличаться от указанных на сайте. Банк может отказать в выдаче кредита без объяснения причин. </a:t>
            </a:r>
            <a:br>
              <a:rPr lang="ru-RU" dirty="0"/>
            </a:br>
            <a:r>
              <a:rPr lang="ru-RU" dirty="0"/>
              <a:t>С тарифами и условиями, определяющими полную стоимость кредита, можно ознакомиться </a:t>
            </a:r>
            <a:r>
              <a:rPr lang="ru-RU" u="sng" dirty="0">
                <a:hlinkClick r:id="rId2"/>
              </a:rPr>
              <a:t>здесь</a:t>
            </a:r>
            <a:r>
              <a:rPr lang="ru-RU" u="sng" dirty="0"/>
              <a:t> </a:t>
            </a:r>
            <a:r>
              <a:rPr lang="en-US" u="sng" dirty="0"/>
              <a:t>[</a:t>
            </a:r>
            <a:r>
              <a:rPr lang="ru-RU" dirty="0"/>
              <a:t>ссылка на продуктовую только на продуктовую страницу с подробными условиями по кредиту -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gazprombank.ru/personal/take_credit/consumer_credit/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50000"/>
              </a:lnSpc>
              <a:spcBef>
                <a:spcPts val="0"/>
              </a:spcBef>
            </a:pPr>
            <a:r>
              <a:rPr lang="en-US" u="sng" dirty="0"/>
              <a:t>]</a:t>
            </a:r>
            <a:r>
              <a:rPr lang="ru-RU" dirty="0"/>
              <a:t>. </a:t>
            </a:r>
            <a:br>
              <a:rPr lang="ru-RU" dirty="0"/>
            </a:br>
            <a:endParaRPr lang="ru-RU" sz="175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72951" y="160440"/>
            <a:ext cx="10946275" cy="445220"/>
          </a:xfrm>
          <a:prstGeom prst="rect">
            <a:avLst/>
          </a:prstGeom>
        </p:spPr>
        <p:txBody>
          <a:bodyPr vert="horz" wrap="square" lIns="0" tIns="44674" rIns="89474" bIns="0" rtlCol="0" anchor="t" anchorCtr="0">
            <a:spAutoFit/>
          </a:bodyPr>
          <a:lstStyle/>
          <a:p>
            <a:pPr defTabSz="1217762">
              <a:spcBef>
                <a:spcPct val="20000"/>
              </a:spcBef>
            </a:pPr>
            <a:r>
              <a:rPr lang="ru-RU" sz="2600" cap="all" spc="400" dirty="0" err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игал</a:t>
            </a:r>
            <a:r>
              <a:rPr lang="ru-RU" sz="2600" cap="all" spc="4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исьма</a:t>
            </a:r>
          </a:p>
        </p:txBody>
      </p:sp>
    </p:spTree>
    <p:extLst>
      <p:ext uri="{BB962C8B-B14F-4D97-AF65-F5344CB8AC3E}">
        <p14:creationId xmlns:p14="http://schemas.microsoft.com/office/powerpoint/2010/main" val="495909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141</TotalTime>
  <Words>556</Words>
  <Application>Microsoft Office PowerPoint</Application>
  <PresentationFormat>Произвольный</PresentationFormat>
  <Paragraphs>43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2" baseType="lpstr">
      <vt:lpstr>Arial</vt:lpstr>
      <vt:lpstr>Calibri</vt:lpstr>
      <vt:lpstr>Helvetica</vt:lpstr>
      <vt:lpstr>Segoe UI</vt:lpstr>
      <vt:lpstr>1_Специальное оформление</vt:lpstr>
      <vt:lpstr>think-cell Slide</vt:lpstr>
      <vt:lpstr>Рекомендации для рассыло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русалимская Алина Витальевна</dc:creator>
  <cp:lastModifiedBy>Софья Коняева</cp:lastModifiedBy>
  <cp:revision>935</cp:revision>
  <cp:lastPrinted>2019-01-24T14:40:08Z</cp:lastPrinted>
  <dcterms:created xsi:type="dcterms:W3CDTF">2017-09-27T11:48:16Z</dcterms:created>
  <dcterms:modified xsi:type="dcterms:W3CDTF">2020-08-12T13:18:09Z</dcterms:modified>
</cp:coreProperties>
</file>